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768" r:id="rId4"/>
    <p:sldMasterId id="2147483790" r:id="rId5"/>
    <p:sldMasterId id="2147483799" r:id="rId6"/>
    <p:sldMasterId id="2147483923" r:id="rId7"/>
  </p:sldMasterIdLst>
  <p:notesMasterIdLst>
    <p:notesMasterId r:id="rId9"/>
  </p:notesMasterIdLst>
  <p:handoutMasterIdLst>
    <p:handoutMasterId r:id="rId10"/>
  </p:handoutMasterIdLst>
  <p:sldIdLst>
    <p:sldId id="2147375613" r:id="rId8"/>
  </p:sldIdLst>
  <p:sldSz cx="12192000" cy="6858000"/>
  <p:notesSz cx="6797675" cy="9928225"/>
  <p:embeddedFontLst>
    <p:embeddedFont>
      <p:font typeface="Futura" panose="020B0604020202020204" charset="0"/>
      <p:regular r:id="rId11"/>
      <p:bold r:id="rId12"/>
      <p:italic r:id="rId13"/>
      <p:boldItalic r:id="rId14"/>
    </p:embeddedFont>
    <p:embeddedFont>
      <p:font typeface="Futura Bold" panose="00000900000000000000" pitchFamily="2" charset="0"/>
      <p:regular r:id="rId15"/>
    </p:embeddedFont>
    <p:embeddedFont>
      <p:font typeface="Futura Medium" panose="00000400000000000000" pitchFamily="2" charset="0"/>
      <p:regular r:id="rId16"/>
      <p:bold r:id="rId17"/>
      <p:italic r:id="rId18"/>
      <p:boldItalic r:id="rId19"/>
    </p:embeddedFont>
    <p:embeddedFont>
      <p:font typeface="ShellBold" panose="00000800000000000000" pitchFamily="50" charset="0"/>
      <p:regular r:id="rId20"/>
      <p:bold r:id="rId21"/>
      <p:italic r:id="rId22"/>
      <p:boldItalic r:id="rId23"/>
    </p:embeddedFont>
    <p:embeddedFont>
      <p:font typeface="ShellMedium" panose="00000600000000000000" pitchFamily="50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pos="3723" userDrawn="1">
          <p15:clr>
            <a:srgbClr val="A4A3A4"/>
          </p15:clr>
        </p15:guide>
        <p15:guide id="9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40" userDrawn="1">
          <p15:clr>
            <a:srgbClr val="A4A3A4"/>
          </p15:clr>
        </p15:guide>
        <p15:guide id="2" pos="2076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gie, SIMON D SPDC-FUP/OG" initials="OSDS" lastIdx="1" clrIdx="0">
    <p:extLst>
      <p:ext uri="{19B8F6BF-5375-455C-9EA6-DF929625EA0E}">
        <p15:presenceInfo xmlns:p15="http://schemas.microsoft.com/office/powerpoint/2012/main" userId="S-1-5-21-1202660629-507921405-682003330-29747" providerId="AD"/>
      </p:ext>
    </p:extLst>
  </p:cmAuthor>
  <p:cmAuthor id="2" name="Gombe, Nasiru SPDC-UPC/G/USLC" initials="GNS" lastIdx="48" clrIdx="1">
    <p:extLst>
      <p:ext uri="{19B8F6BF-5375-455C-9EA6-DF929625EA0E}">
        <p15:presenceInfo xmlns:p15="http://schemas.microsoft.com/office/powerpoint/2012/main" userId="S::Nasiru.Gombe@Shell.com::348821c8-8dd5-44e7-88d8-a13bc4139d17" providerId="AD"/>
      </p:ext>
    </p:extLst>
  </p:cmAuthor>
  <p:cmAuthor id="3" name="Alamu, Abimbola P SNEPCO-UPC/G/USL" initials="AAPSU" lastIdx="1" clrIdx="2">
    <p:extLst>
      <p:ext uri="{19B8F6BF-5375-455C-9EA6-DF929625EA0E}">
        <p15:presenceInfo xmlns:p15="http://schemas.microsoft.com/office/powerpoint/2012/main" userId="S::Abimbola.Alamu@shell.com::df764056-8c76-460a-b4a2-c5712dcbc57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75A2"/>
    <a:srgbClr val="AC8570"/>
    <a:srgbClr val="FBCE07"/>
    <a:srgbClr val="009EB4"/>
    <a:srgbClr val="FDEDCC"/>
    <a:srgbClr val="003C88"/>
    <a:srgbClr val="FFFFFF"/>
    <a:srgbClr val="FEF6E7"/>
    <a:srgbClr val="92D050"/>
    <a:srgbClr val="D1D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08" autoAdjust="0"/>
    <p:restoredTop sz="96270" autoAdjust="0"/>
  </p:normalViewPr>
  <p:slideViewPr>
    <p:cSldViewPr snapToGrid="0" showGuides="1">
      <p:cViewPr varScale="1">
        <p:scale>
          <a:sx n="67" d="100"/>
          <a:sy n="67" d="100"/>
        </p:scale>
        <p:origin x="632" y="44"/>
      </p:cViewPr>
      <p:guideLst>
        <p:guide pos="3723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792"/>
    </p:cViewPr>
  </p:sorterViewPr>
  <p:notesViewPr>
    <p:cSldViewPr snapToGrid="0" showGuides="1">
      <p:cViewPr varScale="1">
        <p:scale>
          <a:sx n="44" d="100"/>
          <a:sy n="44" d="100"/>
        </p:scale>
        <p:origin x="2784" y="52"/>
      </p:cViewPr>
      <p:guideLst>
        <p:guide orient="horz" pos="3340"/>
        <p:guide pos="2076"/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7" Type="http://schemas.openxmlformats.org/officeDocument/2006/relationships/slideMaster" Target="slideMasters/slideMaster4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tags" Target="tags/tag1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font" Target="fonts/font17.fntdata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6" y="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9/05/2023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3009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/>
            </a:lvl1pPr>
          </a:lstStyle>
          <a:p>
            <a:r>
              <a:rPr lang="en-GB" dirty="0">
                <a:latin typeface="Futura Medium" pitchFamily="2" charset="0"/>
              </a:rPr>
              <a:t>Copyright of SPDC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6" y="943009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9/05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9" y="4715908"/>
            <a:ext cx="5438140" cy="4467702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r>
              <a:rPr lang="en-GB" dirty="0"/>
              <a:t>Copyright of SPDC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3009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1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3" y="3819113"/>
            <a:ext cx="6694609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05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05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1778013" y="1161747"/>
            <a:ext cx="6694609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3" y="2602008"/>
            <a:ext cx="6694609" cy="161583"/>
          </a:xfrm>
        </p:spPr>
        <p:txBody>
          <a:bodyPr>
            <a:spAutoFit/>
          </a:bodyPr>
          <a:lstStyle>
            <a:lvl1pPr algn="l">
              <a:defRPr sz="105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05426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867" y="503239"/>
            <a:ext cx="10856384" cy="9366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68867" y="1439863"/>
            <a:ext cx="10856384" cy="51308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87639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4"/>
          <p:cNvGrpSpPr>
            <a:grpSpLocks/>
          </p:cNvGrpSpPr>
          <p:nvPr/>
        </p:nvGrpSpPr>
        <p:grpSpPr bwMode="auto">
          <a:xfrm>
            <a:off x="624418" y="225425"/>
            <a:ext cx="10856383" cy="6167438"/>
            <a:chOff x="468313" y="226142"/>
            <a:chExt cx="8142959" cy="6167226"/>
          </a:xfrm>
        </p:grpSpPr>
        <p:sp>
          <p:nvSpPr>
            <p:cNvPr id="7" name="Rectangle 4"/>
            <p:cNvSpPr>
              <a:spLocks noChangeArrowheads="1"/>
            </p:cNvSpPr>
            <p:nvPr/>
          </p:nvSpPr>
          <p:spPr bwMode="auto">
            <a:xfrm flipH="1">
              <a:off x="468313" y="1307193"/>
              <a:ext cx="7020504" cy="508617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r>
                <a:rPr lang="en-GB" sz="1800" dirty="0"/>
                <a:t> </a:t>
              </a: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 flipH="1">
              <a:off x="1547902" y="226142"/>
              <a:ext cx="7063370" cy="504014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 sz="1800" dirty="0"/>
            </a:p>
          </p:txBody>
        </p:sp>
        <p:sp>
          <p:nvSpPr>
            <p:cNvPr id="9" name="Rectangle 4"/>
            <p:cNvSpPr>
              <a:spLocks noChangeArrowheads="1"/>
            </p:cNvSpPr>
            <p:nvPr/>
          </p:nvSpPr>
          <p:spPr bwMode="auto">
            <a:xfrm flipH="1">
              <a:off x="1547902" y="1307193"/>
              <a:ext cx="5942502" cy="3959089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 sz="1800" dirty="0"/>
            </a:p>
          </p:txBody>
        </p:sp>
        <p:pic>
          <p:nvPicPr>
            <p:cNvPr id="10" name="Picture 23" descr="Shell-2010-Pecten-RGBpc.wmf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68313" y="290934"/>
              <a:ext cx="720000" cy="6678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6" descr="Rectangle 6"/>
          <p:cNvSpPr txBox="1">
            <a:spLocks noChangeArrowheads="1"/>
          </p:cNvSpPr>
          <p:nvPr/>
        </p:nvSpPr>
        <p:spPr bwMode="auto">
          <a:xfrm>
            <a:off x="11169651" y="6470651"/>
            <a:ext cx="355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/>
          <a:lstStyle/>
          <a:p>
            <a:pPr algn="r">
              <a:defRPr/>
            </a:pPr>
            <a:fld id="{BEE97DAD-5FDB-4B64-96B1-164D2C093834}" type="slidenum">
              <a:rPr lang="en-GB" sz="800">
                <a:cs typeface="Arial" pitchFamily="34" charset="0"/>
              </a:rPr>
              <a:pPr algn="r">
                <a:defRPr/>
              </a:pPr>
              <a:t>‹#›</a:t>
            </a:fld>
            <a:endParaRPr lang="en-GB" sz="800" dirty="0">
              <a:cs typeface="Arial" pitchFamily="34" charset="0"/>
            </a:endParaRPr>
          </a:p>
        </p:txBody>
      </p:sp>
      <p:sp>
        <p:nvSpPr>
          <p:cNvPr id="12" name="Rectangle 33"/>
          <p:cNvSpPr/>
          <p:nvPr/>
        </p:nvSpPr>
        <p:spPr>
          <a:xfrm>
            <a:off x="2264833" y="4649789"/>
            <a:ext cx="3600451" cy="5413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050" dirty="0">
                <a:solidFill>
                  <a:schemeClr val="tx1"/>
                </a:solidFill>
              </a:rPr>
              <a:t>Obidike</a:t>
            </a:r>
            <a:r>
              <a:rPr lang="en-GB" sz="1050" baseline="0" dirty="0">
                <a:solidFill>
                  <a:schemeClr val="tx1"/>
                </a:solidFill>
              </a:rPr>
              <a:t> Peter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63709" y="1400847"/>
            <a:ext cx="7560000" cy="1206000"/>
          </a:xfrm>
          <a:noFill/>
        </p:spPr>
        <p:txBody>
          <a:bodyPr/>
          <a:lstStyle>
            <a:lvl1pPr>
              <a:defRPr kern="1200" cap="none" spc="0" baseline="0"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63709" y="2851342"/>
            <a:ext cx="3600000" cy="1620000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sz="16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/>
          </p:nvPr>
        </p:nvSpPr>
        <p:spPr>
          <a:xfrm>
            <a:off x="2263709" y="5357825"/>
            <a:ext cx="7680000" cy="216000"/>
          </a:xfrm>
        </p:spPr>
        <p:txBody>
          <a:bodyPr anchor="ctr"/>
          <a:lstStyle>
            <a:lvl1pPr>
              <a:buNone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/>
          </p:nvPr>
        </p:nvSpPr>
        <p:spPr>
          <a:xfrm>
            <a:off x="2263709" y="5627539"/>
            <a:ext cx="7680000" cy="216000"/>
          </a:xfrm>
        </p:spPr>
        <p:txBody>
          <a:bodyPr anchor="ctr"/>
          <a:lstStyle>
            <a:lvl1pPr>
              <a:buNone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7795065" y="64055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ote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26022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9298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1350"/>
          </a:xfrm>
        </p:spPr>
        <p:txBody>
          <a:bodyPr/>
          <a:lstStyle>
            <a:lvl1pPr marL="269875" indent="-269875">
              <a:lnSpc>
                <a:spcPct val="120000"/>
              </a:lnSpc>
              <a:buSzPct val="75000"/>
              <a:buFontTx/>
              <a:buBlip>
                <a:blip r:embed="rId2"/>
              </a:buBlip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4224125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228601"/>
            <a:ext cx="11567584" cy="8937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74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11239500" y="6550026"/>
            <a:ext cx="355600" cy="1698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4572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17E3A2B2-37C6-4A13-8741-7899AB745B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8878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1 Line Heading and 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593417" y="1310400"/>
            <a:ext cx="4976284" cy="50724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1200790" y="1310400"/>
            <a:ext cx="4984751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5184983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Line Heading and 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228601"/>
            <a:ext cx="11567584" cy="8937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74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13"/>
          </p:nvPr>
        </p:nvSpPr>
        <p:spPr>
          <a:xfrm>
            <a:off x="6593417" y="1310400"/>
            <a:ext cx="4976284" cy="50724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1200790" y="1310400"/>
            <a:ext cx="4984751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891645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867" y="503239"/>
            <a:ext cx="10856384" cy="9366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68867" y="1439863"/>
            <a:ext cx="10856384" cy="51308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72799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 Month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5D82AB2-D0FF-40FC-84B4-755306385B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2138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24079029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4860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557361750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23133540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840263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629350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9441724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71086936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97305843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756619006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42404397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22905836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228604"/>
            <a:ext cx="11567584" cy="51646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696387" tIns="99870" rIns="26991" bIns="0" numCol="1" anchor="t" anchorCtr="0" compatLnSpc="1">
            <a:prstTxWarp prst="textNoShape">
              <a:avLst/>
            </a:prstTxWarp>
          </a:bodyPr>
          <a:lstStyle/>
          <a:p>
            <a:pPr defTabSz="685582" eaLnBrk="0" hangingPunct="0">
              <a:lnSpc>
                <a:spcPct val="90000"/>
              </a:lnSpc>
            </a:pPr>
            <a:endParaRPr lang="en-US" sz="1837" b="1" dirty="0">
              <a:solidFill>
                <a:srgbClr val="D42E12"/>
              </a:solidFill>
              <a:latin typeface="Futura Medium" pitchFamily="18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1178" y="295202"/>
            <a:ext cx="10846173" cy="2539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624424" y="1312202"/>
            <a:ext cx="10945281" cy="1149738"/>
          </a:xfrm>
        </p:spPr>
        <p:txBody>
          <a:bodyPr/>
          <a:lstStyle>
            <a:lvl1pPr marL="0" indent="0" defTabSz="201152">
              <a:lnSpc>
                <a:spcPct val="120000"/>
              </a:lnSpc>
              <a:spcBef>
                <a:spcPts val="0"/>
              </a:spcBef>
              <a:defRPr/>
            </a:lvl1pPr>
            <a:lvl2pPr marL="203532" indent="-203532" defTabSz="201152">
              <a:lnSpc>
                <a:spcPct val="120000"/>
              </a:lnSpc>
              <a:spcBef>
                <a:spcPts val="0"/>
              </a:spcBef>
              <a:defRPr/>
            </a:lvl2pPr>
            <a:lvl3pPr marL="338030" indent="-135689" defTabSz="20115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531"/>
            </a:lvl3pPr>
            <a:lvl4pPr defTabSz="20115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224"/>
            </a:lvl4pPr>
            <a:lvl5pPr defTabSz="20115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071"/>
            </a:lvl5pPr>
            <a:lvl6pPr defTabSz="201152">
              <a:lnSpc>
                <a:spcPct val="12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7072345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307378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585691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0714533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Dev Away Day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41858322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388535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889" y="1278889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62081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59037740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12923931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6327509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84068825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4"/>
          <p:cNvGrpSpPr>
            <a:grpSpLocks/>
          </p:cNvGrpSpPr>
          <p:nvPr/>
        </p:nvGrpSpPr>
        <p:grpSpPr bwMode="auto">
          <a:xfrm>
            <a:off x="624418" y="225425"/>
            <a:ext cx="10856383" cy="6167438"/>
            <a:chOff x="468313" y="226142"/>
            <a:chExt cx="8142959" cy="6167226"/>
          </a:xfrm>
        </p:grpSpPr>
        <p:sp>
          <p:nvSpPr>
            <p:cNvPr id="7" name="Rectangle 4"/>
            <p:cNvSpPr>
              <a:spLocks noChangeArrowheads="1"/>
            </p:cNvSpPr>
            <p:nvPr/>
          </p:nvSpPr>
          <p:spPr bwMode="auto">
            <a:xfrm flipH="1">
              <a:off x="468313" y="1307193"/>
              <a:ext cx="7020504" cy="508617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r>
                <a:rPr lang="en-GB" sz="1800" dirty="0"/>
                <a:t> </a:t>
              </a: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 flipH="1">
              <a:off x="1547902" y="226142"/>
              <a:ext cx="7063370" cy="504014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 sz="1800" dirty="0"/>
            </a:p>
          </p:txBody>
        </p:sp>
        <p:sp>
          <p:nvSpPr>
            <p:cNvPr id="9" name="Rectangle 4"/>
            <p:cNvSpPr>
              <a:spLocks noChangeArrowheads="1"/>
            </p:cNvSpPr>
            <p:nvPr/>
          </p:nvSpPr>
          <p:spPr bwMode="auto">
            <a:xfrm flipH="1">
              <a:off x="1547902" y="1307193"/>
              <a:ext cx="5942502" cy="3959089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 sz="1800" dirty="0"/>
            </a:p>
          </p:txBody>
        </p:sp>
        <p:pic>
          <p:nvPicPr>
            <p:cNvPr id="10" name="Picture 23" descr="Shell-2010-Pecten-RGBpc.wmf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68313" y="290934"/>
              <a:ext cx="720000" cy="6678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6" descr="Rectangle 6"/>
          <p:cNvSpPr txBox="1">
            <a:spLocks noChangeArrowheads="1"/>
          </p:cNvSpPr>
          <p:nvPr/>
        </p:nvSpPr>
        <p:spPr bwMode="auto">
          <a:xfrm>
            <a:off x="11169651" y="6470651"/>
            <a:ext cx="355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/>
          <a:lstStyle/>
          <a:p>
            <a:pPr algn="r">
              <a:defRPr/>
            </a:pPr>
            <a:fld id="{BEE97DAD-5FDB-4B64-96B1-164D2C093834}" type="slidenum">
              <a:rPr lang="en-GB" sz="800">
                <a:cs typeface="Arial" pitchFamily="34" charset="0"/>
              </a:rPr>
              <a:pPr algn="r">
                <a:defRPr/>
              </a:pPr>
              <a:t>‹#›</a:t>
            </a:fld>
            <a:endParaRPr lang="en-GB" sz="800" dirty="0">
              <a:cs typeface="Arial" pitchFamily="34" charset="0"/>
            </a:endParaRPr>
          </a:p>
        </p:txBody>
      </p:sp>
      <p:sp>
        <p:nvSpPr>
          <p:cNvPr id="12" name="Rectangle 33"/>
          <p:cNvSpPr/>
          <p:nvPr/>
        </p:nvSpPr>
        <p:spPr>
          <a:xfrm>
            <a:off x="2264833" y="4649789"/>
            <a:ext cx="3600451" cy="5413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050" dirty="0">
                <a:solidFill>
                  <a:schemeClr val="tx1"/>
                </a:solidFill>
              </a:rPr>
              <a:t>Obidike</a:t>
            </a:r>
            <a:r>
              <a:rPr lang="en-GB" sz="1050" baseline="0" dirty="0">
                <a:solidFill>
                  <a:schemeClr val="tx1"/>
                </a:solidFill>
              </a:rPr>
              <a:t> Peter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63709" y="1400847"/>
            <a:ext cx="7560000" cy="1206000"/>
          </a:xfrm>
          <a:noFill/>
        </p:spPr>
        <p:txBody>
          <a:bodyPr/>
          <a:lstStyle>
            <a:lvl1pPr>
              <a:defRPr kern="1200" cap="none" spc="0" baseline="0"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63709" y="2851342"/>
            <a:ext cx="3600000" cy="1620000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sz="16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/>
          </p:nvPr>
        </p:nvSpPr>
        <p:spPr>
          <a:xfrm>
            <a:off x="2263709" y="5357825"/>
            <a:ext cx="7680000" cy="216000"/>
          </a:xfrm>
        </p:spPr>
        <p:txBody>
          <a:bodyPr anchor="ctr"/>
          <a:lstStyle>
            <a:lvl1pPr>
              <a:buNone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/>
          </p:nvPr>
        </p:nvSpPr>
        <p:spPr>
          <a:xfrm>
            <a:off x="2263709" y="5627539"/>
            <a:ext cx="7680000" cy="216000"/>
          </a:xfrm>
        </p:spPr>
        <p:txBody>
          <a:bodyPr anchor="ctr"/>
          <a:lstStyle>
            <a:lvl1pPr>
              <a:buNone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7795065" y="64055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ote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875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600442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1350"/>
          </a:xfrm>
        </p:spPr>
        <p:txBody>
          <a:bodyPr/>
          <a:lstStyle>
            <a:lvl1pPr marL="269875" indent="-269875">
              <a:lnSpc>
                <a:spcPct val="120000"/>
              </a:lnSpc>
              <a:buSzPct val="75000"/>
              <a:buFontTx/>
              <a:buBlip>
                <a:blip r:embed="rId2"/>
              </a:buBlip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06067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228601"/>
            <a:ext cx="11567584" cy="8937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74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11239500" y="6550026"/>
            <a:ext cx="355600" cy="1698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4572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17E3A2B2-37C6-4A13-8741-7899AB745B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6946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1 Line Heading and 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593417" y="1310400"/>
            <a:ext cx="4976284" cy="50724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1200790" y="1310400"/>
            <a:ext cx="4984751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293408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Line Heading and 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228601"/>
            <a:ext cx="11567584" cy="8937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74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13"/>
          </p:nvPr>
        </p:nvSpPr>
        <p:spPr>
          <a:xfrm>
            <a:off x="6593417" y="1310400"/>
            <a:ext cx="4976284" cy="50724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1200790" y="1310400"/>
            <a:ext cx="4984751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2662536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1.emf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heme" Target="../theme/theme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8.xml"/><Relationship Id="rId10" Type="http://schemas.openxmlformats.org/officeDocument/2006/relationships/tags" Target="../tags/tag22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24.xml"/><Relationship Id="rId5" Type="http://schemas.openxmlformats.org/officeDocument/2006/relationships/slideLayout" Target="../slideLayouts/slideLayout15.xml"/><Relationship Id="rId10" Type="http://schemas.openxmlformats.org/officeDocument/2006/relationships/tags" Target="../tags/tag23.x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3.x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image" Target="../media/image5.emf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oleObject" Target="../embeddings/oleObject6.bin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26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25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3" y="623131"/>
            <a:ext cx="11188689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4"/>
            <a:ext cx="466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9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3" y="993244"/>
            <a:ext cx="1118868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374721"/>
            <a:ext cx="5853024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3" y="6502092"/>
            <a:ext cx="11188689" cy="270106"/>
            <a:chOff x="172517" y="5882833"/>
            <a:chExt cx="8796540" cy="270106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82833"/>
              <a:ext cx="8796540" cy="92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6675" indent="-66675">
                <a:defRPr/>
              </a:pPr>
              <a:r>
                <a:rPr lang="en-US" sz="6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60606"/>
              <a:ext cx="8252075" cy="92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260747" indent="-260747" defTabSz="671513">
                <a:tabLst>
                  <a:tab pos="259556" algn="l"/>
                </a:tabLst>
              </a:pPr>
              <a:r>
                <a:rPr lang="en-US" sz="6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600521" y="6679868"/>
            <a:ext cx="96180" cy="92333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600" smtClean="0"/>
              <a:pPr lvl="0" algn="r"/>
              <a:t>‹#›</a:t>
            </a:fld>
            <a:endParaRPr lang="en-US" sz="6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7"/>
            <a:ext cx="600249" cy="984251"/>
            <a:chOff x="7835905" y="279400"/>
            <a:chExt cx="600249" cy="984251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908224" cy="684600"/>
            <a:chOff x="7540629" y="279400"/>
            <a:chExt cx="908224" cy="684600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666924" cy="1306516"/>
            <a:chOff x="7769225" y="250825"/>
            <a:chExt cx="666924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94901" y="739934"/>
            <a:ext cx="301813" cy="120033"/>
            <a:chOff x="8438963" y="285750"/>
            <a:chExt cx="301812" cy="12003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438963" y="285750"/>
              <a:ext cx="301812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rgbClr val="002960"/>
                </a:buClr>
              </a:pPr>
              <a:r>
                <a:rPr lang="en-GB" sz="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438963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438963" y="405783"/>
              <a:ext cx="30181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932187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1650" b="1" baseline="0">
          <a:solidFill>
            <a:schemeClr val="tx1"/>
          </a:solidFill>
          <a:latin typeface="ShellBold" panose="00000800000000000000" pitchFamily="50" charset="0"/>
          <a:ea typeface="Arial Unicode MS" pitchFamily="34" charset="-128"/>
          <a:cs typeface="ShellBold" panose="00000800000000000000" pitchFamily="50" charset="0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ShellMedium" panose="00000600000000000000" pitchFamily="50" charset="0"/>
          <a:ea typeface="Arial Unicode MS" pitchFamily="34" charset="-128"/>
          <a:cs typeface="ShellMedium" panose="00000600000000000000" pitchFamily="50" charset="0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ShellMedium" panose="00000600000000000000" pitchFamily="50" charset="0"/>
          <a:ea typeface="Arial Unicode MS" pitchFamily="34" charset="-128"/>
          <a:cs typeface="ShellMedium" panose="00000600000000000000" pitchFamily="50" charset="0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ShellMedium" panose="00000600000000000000" pitchFamily="50" charset="0"/>
          <a:ea typeface="Arial Unicode MS" pitchFamily="34" charset="-128"/>
          <a:cs typeface="ShellMedium" panose="00000600000000000000" pitchFamily="50" charset="0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ShellMedium" panose="00000600000000000000" pitchFamily="50" charset="0"/>
          <a:ea typeface="Arial Unicode MS" pitchFamily="34" charset="-128"/>
          <a:cs typeface="ShellMedium" panose="00000600000000000000" pitchFamily="50" charset="0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ShellMedium" panose="00000600000000000000" pitchFamily="50" charset="0"/>
          <a:ea typeface="Arial Unicode MS" pitchFamily="34" charset="-128"/>
          <a:cs typeface="ShellMedium" panose="00000600000000000000" pitchFamily="50" charset="0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 userDrawn="1">
          <p15:clr>
            <a:srgbClr val="F26B43"/>
          </p15:clr>
        </p15:guide>
        <p15:guide id="2" pos="416" userDrawn="1">
          <p15:clr>
            <a:srgbClr val="F26B43"/>
          </p15:clr>
        </p15:guide>
        <p15:guide id="3" pos="9824" userDrawn="1">
          <p15:clr>
            <a:srgbClr val="F26B43"/>
          </p15:clr>
        </p15:guide>
        <p15:guide id="4" orient="horz" pos="42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DDDD24-D678-470F-B1EF-292AE8ACF2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509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59" imgH="358" progId="TCLayout.ActiveDocument.1">
                  <p:embed/>
                </p:oleObj>
              </mc:Choice>
              <mc:Fallback>
                <p:oleObj name="think-cell Slide" r:id="rId11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DDDD24-D678-470F-B1EF-292AE8ACF2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180844-D8CB-4F47-BB41-F906E1D5EE2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Futura Medium" panose="00000400000000000000" pitchFamily="2" charset="0"/>
              <a:ea typeface="+mj-ea"/>
              <a:cs typeface="+mj-cs"/>
              <a:sym typeface="Futura Medium" panose="00000400000000000000" pitchFamily="2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00151" y="1309688"/>
            <a:ext cx="10329333" cy="5072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51" y="295275"/>
            <a:ext cx="10267949" cy="419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4" name="Rectangle 6" descr="Rectangle 6"/>
          <p:cNvSpPr txBox="1">
            <a:spLocks noChangeArrowheads="1"/>
          </p:cNvSpPr>
          <p:nvPr/>
        </p:nvSpPr>
        <p:spPr bwMode="auto">
          <a:xfrm>
            <a:off x="11169651" y="6470651"/>
            <a:ext cx="355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/>
          <a:lstStyle/>
          <a:p>
            <a:pPr algn="r">
              <a:defRPr/>
            </a:pPr>
            <a:fld id="{011A1EAD-6E20-4FAE-ADCB-2895346A2AD4}" type="slidenum">
              <a:rPr lang="en-GB" sz="800">
                <a:cs typeface="Arial" pitchFamily="34" charset="0"/>
              </a:rPr>
              <a:pPr algn="r">
                <a:defRPr/>
              </a:pPr>
              <a:t>‹#›</a:t>
            </a:fld>
            <a:endParaRPr lang="en-GB" sz="800" dirty="0"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7795065" y="64055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ote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329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ShellBold" panose="00000800000000000000" pitchFamily="50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9pPr>
    </p:titleStyle>
    <p:bodyStyle>
      <a:lvl1pPr marL="265113" indent="-265113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accent2"/>
        </a:buClr>
        <a:buSzPct val="75000"/>
        <a:buBlip>
          <a:blip r:embed="rId13"/>
        </a:buBlip>
        <a:defRPr sz="200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1pPr>
      <a:lvl2pPr marL="447675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200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2pPr>
      <a:lvl3pPr marL="895350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160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3pPr>
      <a:lvl4pPr marL="1257300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120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DE99CD-6A25-4DD2-9C87-325EC8FB94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574506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59" imgH="358" progId="TCLayout.ActiveDocument.1">
                  <p:embed/>
                </p:oleObj>
              </mc:Choice>
              <mc:Fallback>
                <p:oleObj name="think-cell Slide" r:id="rId12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DE99CD-6A25-4DD2-9C87-325EC8FB94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AD56304-01A8-4A2B-8A65-9996C4761108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Futura Medium" panose="00000400000000000000" pitchFamily="2" charset="0"/>
              <a:ea typeface="+mj-ea"/>
              <a:cs typeface="+mj-cs"/>
              <a:sym typeface="Futura Medium" panose="00000400000000000000" pitchFamily="2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ShellBold" panose="00000800000000000000" pitchFamily="50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00151" y="1309688"/>
            <a:ext cx="10329333" cy="5072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51" y="295275"/>
            <a:ext cx="10267949" cy="419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4" name="Rectangle 6" descr="Rectangle 6"/>
          <p:cNvSpPr txBox="1">
            <a:spLocks noChangeArrowheads="1"/>
          </p:cNvSpPr>
          <p:nvPr/>
        </p:nvSpPr>
        <p:spPr bwMode="auto">
          <a:xfrm>
            <a:off x="11169651" y="6470651"/>
            <a:ext cx="355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/>
          <a:lstStyle/>
          <a:p>
            <a:pPr algn="r">
              <a:defRPr/>
            </a:pPr>
            <a:fld id="{011A1EAD-6E20-4FAE-ADCB-2895346A2AD4}" type="slidenum">
              <a:rPr lang="en-GB" sz="800">
                <a:cs typeface="Arial" pitchFamily="34" charset="0"/>
              </a:rPr>
              <a:pPr algn="r">
                <a:defRPr/>
              </a:pPr>
              <a:t>‹#›</a:t>
            </a:fld>
            <a:endParaRPr lang="en-GB" sz="800" dirty="0"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7795065" y="64055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ote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839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ShellBold" panose="00000800000000000000" pitchFamily="50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9pPr>
    </p:titleStyle>
    <p:bodyStyle>
      <a:lvl1pPr marL="265113" indent="-265113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accent2"/>
        </a:buClr>
        <a:buSzPct val="75000"/>
        <a:buBlip>
          <a:blip r:embed="rId14"/>
        </a:buBlip>
        <a:defRPr sz="200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1pPr>
      <a:lvl2pPr marL="447675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200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2pPr>
      <a:lvl3pPr marL="895350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160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3pPr>
      <a:lvl4pPr marL="1257300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120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9DC997-88D5-4B95-B503-9FD6709F0B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806593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59" imgH="358" progId="TCLayout.ActiveDocument.1">
                  <p:embed/>
                </p:oleObj>
              </mc:Choice>
              <mc:Fallback>
                <p:oleObj name="think-cell Slide" r:id="rId25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9DC997-88D5-4B95-B503-9FD6709F0B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833565-A966-4DD5-B304-39BD846FD91C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Futura Bold" panose="00000900000000000000" pitchFamily="2" charset="0"/>
              <a:ea typeface="+mj-ea"/>
              <a:cs typeface="+mj-cs"/>
              <a:sym typeface="Futura Bold" panose="00000900000000000000" pitchFamily="2" charset="0"/>
            </a:endParaRP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3670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</p:sldLayoutIdLst>
  <p:transition>
    <p:fade/>
  </p:transition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ShellBold" panose="00000800000000000000" pitchFamily="50" charset="0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ShellMedium" panose="00000600000000000000" pitchFamily="50" charset="0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DF1A7C-05CD-474A-87D2-E5CFCA133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469199"/>
            <a:ext cx="355564" cy="237600"/>
          </a:xfrm>
        </p:spPr>
        <p:txBody>
          <a:bodyPr wrap="none" anchor="t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85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112132-9B9C-4039-A481-6C8655BDFC39}"/>
              </a:ext>
            </a:extLst>
          </p:cNvPr>
          <p:cNvSpPr txBox="1"/>
          <p:nvPr/>
        </p:nvSpPr>
        <p:spPr bwMode="auto">
          <a:xfrm>
            <a:off x="1476375" y="86667"/>
            <a:ext cx="9239250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OP 22 MARINE EQUIPMENT DEMAND VS BUDGET UPDAT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5965E2-0952-42A4-99A2-0968479F48C2}"/>
              </a:ext>
            </a:extLst>
          </p:cNvPr>
          <p:cNvSpPr txBox="1"/>
          <p:nvPr/>
        </p:nvSpPr>
        <p:spPr bwMode="auto">
          <a:xfrm>
            <a:off x="101600" y="652188"/>
            <a:ext cx="11787768" cy="10080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en-US" sz="1200" b="1" u="sng" dirty="0">
                <a:solidFill>
                  <a:srgbClr val="595959"/>
                </a:solidFill>
              </a:rPr>
              <a:t>2023</a:t>
            </a:r>
            <a:r>
              <a:rPr lang="en-US" sz="1200" b="1" dirty="0">
                <a:solidFill>
                  <a:srgbClr val="595959"/>
                </a:solidFill>
              </a:rPr>
              <a:t> vs 2022 Vessels Demand count : </a:t>
            </a:r>
            <a:r>
              <a:rPr lang="en-US" sz="1200" b="1" u="sng" dirty="0">
                <a:solidFill>
                  <a:srgbClr val="595959"/>
                </a:solidFill>
              </a:rPr>
              <a:t>194 </a:t>
            </a:r>
            <a:r>
              <a:rPr lang="en-US" sz="1200" b="1" dirty="0">
                <a:solidFill>
                  <a:srgbClr val="595959"/>
                </a:solidFill>
              </a:rPr>
              <a:t>vs 173. Up by 12%. Major demand upside from Project and Belema. 2022 YTD Average demand (128) well below plan of 173.</a:t>
            </a:r>
          </a:p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en-US" sz="1200" b="1" u="sng" dirty="0">
                <a:solidFill>
                  <a:srgbClr val="595959"/>
                </a:solidFill>
              </a:rPr>
              <a:t>2023</a:t>
            </a:r>
            <a:r>
              <a:rPr lang="en-US" sz="1200" b="1" dirty="0">
                <a:solidFill>
                  <a:srgbClr val="595959"/>
                </a:solidFill>
              </a:rPr>
              <a:t> vs 2022 Vessels Demand cost : $</a:t>
            </a:r>
            <a:r>
              <a:rPr lang="en-US" sz="1200" b="1" u="sng" dirty="0">
                <a:solidFill>
                  <a:srgbClr val="595959"/>
                </a:solidFill>
              </a:rPr>
              <a:t>146m </a:t>
            </a:r>
            <a:r>
              <a:rPr lang="en-US" sz="1200" b="1" dirty="0">
                <a:solidFill>
                  <a:srgbClr val="595959"/>
                </a:solidFill>
              </a:rPr>
              <a:t>vs $124m. Up by 18%.</a:t>
            </a:r>
          </a:p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en-US" sz="1200" b="1" dirty="0">
                <a:solidFill>
                  <a:srgbClr val="595959"/>
                </a:solidFill>
              </a:rPr>
              <a:t>OP 22 Demand Cost vs </a:t>
            </a:r>
            <a:r>
              <a:rPr lang="en-US" sz="1200" b="1" u="sng" dirty="0">
                <a:solidFill>
                  <a:srgbClr val="595959"/>
                </a:solidFill>
              </a:rPr>
              <a:t>NAPIMS recommended </a:t>
            </a:r>
            <a:r>
              <a:rPr lang="en-US" sz="1200" b="1" dirty="0">
                <a:solidFill>
                  <a:srgbClr val="595959"/>
                </a:solidFill>
              </a:rPr>
              <a:t>:  $146m vs </a:t>
            </a:r>
            <a:r>
              <a:rPr lang="en-US" sz="1200" b="1" u="sng" dirty="0">
                <a:solidFill>
                  <a:srgbClr val="595959"/>
                </a:solidFill>
              </a:rPr>
              <a:t>$114.2m</a:t>
            </a:r>
            <a:r>
              <a:rPr lang="en-US" sz="1200" b="1" dirty="0">
                <a:solidFill>
                  <a:srgbClr val="595959"/>
                </a:solidFill>
              </a:rPr>
              <a:t>. Deficit (</a:t>
            </a:r>
            <a:r>
              <a:rPr lang="en-US" sz="1200" b="1" dirty="0">
                <a:solidFill>
                  <a:srgbClr val="FF0000"/>
                </a:solidFill>
              </a:rPr>
              <a:t>$ 31.86m).</a:t>
            </a:r>
            <a:r>
              <a:rPr lang="en-US" sz="1200" b="1" dirty="0">
                <a:solidFill>
                  <a:srgbClr val="595959"/>
                </a:solidFill>
              </a:rPr>
              <a:t>  2022 NUIMS realigned is $102m. </a:t>
            </a:r>
            <a:r>
              <a:rPr lang="en-US" sz="1200" b="1" dirty="0">
                <a:solidFill>
                  <a:srgbClr val="00B050"/>
                </a:solidFill>
              </a:rPr>
              <a:t>OP22 is $12m above OP21 realigned budget</a:t>
            </a:r>
          </a:p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en-US" sz="1200" b="1" dirty="0">
                <a:solidFill>
                  <a:srgbClr val="595959"/>
                </a:solidFill>
              </a:rPr>
              <a:t>Wells /WRFM JV, Security and West Asset accounts for the major gap between demand and recommended budget. Further internal review and realignment plann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5327D9-A33B-47D5-9E1C-0AAC5385C2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" y="1813560"/>
            <a:ext cx="11780520" cy="504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08005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0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t8bmif7KuQJK1IerA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qtxOiCReiUgoJOjWLe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MCFsSfsfOdOfj_Fcd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11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Shell_Brand_2010">
  <a:themeElements>
    <a:clrScheme name="Shell - Colours">
      <a:dk1>
        <a:srgbClr val="595959"/>
      </a:dk1>
      <a:lt1>
        <a:srgbClr val="FFFFFF"/>
      </a:lt1>
      <a:dk2>
        <a:srgbClr val="999999"/>
      </a:dk2>
      <a:lt2>
        <a:srgbClr val="CCCCCC"/>
      </a:lt2>
      <a:accent1>
        <a:srgbClr val="F7D117"/>
      </a:accent1>
      <a:accent2>
        <a:srgbClr val="D42E12"/>
      </a:accent2>
      <a:accent3>
        <a:srgbClr val="003882"/>
      </a:accent3>
      <a:accent4>
        <a:srgbClr val="611759"/>
      </a:accent4>
      <a:accent5>
        <a:srgbClr val="00824A"/>
      </a:accent5>
      <a:accent6>
        <a:srgbClr val="DE8703"/>
      </a:accent6>
      <a:hlink>
        <a:srgbClr val="000000"/>
      </a:hlink>
      <a:folHlink>
        <a:srgbClr val="000000"/>
      </a:folHlink>
    </a:clrScheme>
    <a:fontScheme name="Shell - Fonts">
      <a:majorFont>
        <a:latin typeface="Futura Medium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lnSpc>
            <a:spcPts val="2100"/>
          </a:lnSpc>
          <a:spcAft>
            <a:spcPts val="1200"/>
          </a:spcAft>
          <a:defRPr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Shell_Brand_2010">
  <a:themeElements>
    <a:clrScheme name="Shell - Colours">
      <a:dk1>
        <a:srgbClr val="595959"/>
      </a:dk1>
      <a:lt1>
        <a:srgbClr val="FFFFFF"/>
      </a:lt1>
      <a:dk2>
        <a:srgbClr val="999999"/>
      </a:dk2>
      <a:lt2>
        <a:srgbClr val="CCCCCC"/>
      </a:lt2>
      <a:accent1>
        <a:srgbClr val="F7D117"/>
      </a:accent1>
      <a:accent2>
        <a:srgbClr val="D42E12"/>
      </a:accent2>
      <a:accent3>
        <a:srgbClr val="003882"/>
      </a:accent3>
      <a:accent4>
        <a:srgbClr val="611759"/>
      </a:accent4>
      <a:accent5>
        <a:srgbClr val="00824A"/>
      </a:accent5>
      <a:accent6>
        <a:srgbClr val="DE8703"/>
      </a:accent6>
      <a:hlink>
        <a:srgbClr val="000000"/>
      </a:hlink>
      <a:folHlink>
        <a:srgbClr val="000000"/>
      </a:folHlink>
    </a:clrScheme>
    <a:fontScheme name="Shell - Fonts">
      <a:majorFont>
        <a:latin typeface="Futura Medium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lnSpc>
            <a:spcPts val="2100"/>
          </a:lnSpc>
          <a:spcAft>
            <a:spcPts val="1200"/>
          </a:spcAft>
          <a:defRPr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5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18DF11575AE348A692F804E8D5204E" ma:contentTypeVersion="9" ma:contentTypeDescription="Create a new document." ma:contentTypeScope="" ma:versionID="62cca7d88454bd6678fef7da502e8417">
  <xsd:schema xmlns:xsd="http://www.w3.org/2001/XMLSchema" xmlns:xs="http://www.w3.org/2001/XMLSchema" xmlns:p="http://schemas.microsoft.com/office/2006/metadata/properties" xmlns:ns3="06b71e4e-544a-44f6-a13f-300501c44cc1" targetNamespace="http://schemas.microsoft.com/office/2006/metadata/properties" ma:root="true" ma:fieldsID="5fcc7a3062e8db484808ab9b1d13da16" ns3:_="">
    <xsd:import namespace="06b71e4e-544a-44f6-a13f-300501c44cc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b71e4e-544a-44f6-a13f-300501c44c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45DEEF9-8763-4B63-94B4-BD9BF3E005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b71e4e-544a-44f6-a13f-300501c44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D62267-63CF-4EED-A21A-FFE42083B91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7E2368C-7560-4EC8-8B77-5DE2A874A7B5}">
  <ds:schemaRefs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06b71e4e-544a-44f6-a13f-300501c44cc1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16 Standard template</Template>
  <TotalTime>96560</TotalTime>
  <Words>121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Futura</vt:lpstr>
      <vt:lpstr>Futura Medium</vt:lpstr>
      <vt:lpstr>ShellBold</vt:lpstr>
      <vt:lpstr>ShellMedium</vt:lpstr>
      <vt:lpstr>Futura Bold</vt:lpstr>
      <vt:lpstr>Wingdings</vt:lpstr>
      <vt:lpstr>11_Shell_CF_RDS598</vt:lpstr>
      <vt:lpstr>Shell_Brand_2010</vt:lpstr>
      <vt:lpstr>1_Shell_Brand_2010</vt:lpstr>
      <vt:lpstr>Shell layouts with footer</vt:lpstr>
      <vt:lpstr>think-cell Slide</vt:lpstr>
      <vt:lpstr>PowerPoint Presentation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SPDC</dc:creator>
  <cp:lastModifiedBy>Mohammed, Aminu SPDC-UPC/G/USLE</cp:lastModifiedBy>
  <cp:revision>2241</cp:revision>
  <cp:lastPrinted>2020-02-05T07:30:39Z</cp:lastPrinted>
  <dcterms:created xsi:type="dcterms:W3CDTF">2016-07-01T16:13:28Z</dcterms:created>
  <dcterms:modified xsi:type="dcterms:W3CDTF">2023-05-09T08:4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4</vt:i4>
  </property>
  <property fmtid="{D5CDD505-2E9C-101B-9397-08002B2CF9AE}" pid="4" name="ContentTypeId">
    <vt:lpwstr>0x010100DB18DF11575AE348A692F804E8D5204E</vt:lpwstr>
  </property>
  <property fmtid="{D5CDD505-2E9C-101B-9397-08002B2CF9AE}" pid="5" name="_dlc_policyId">
    <vt:lpwstr>0x0101006F0A470EEB1140E7AA14F4CE8A50B54C|1203996477</vt:lpwstr>
  </property>
  <property fmtid="{D5CDD505-2E9C-101B-9397-08002B2CF9AE}" pid="6" name="ItemRetentionFormula">
    <vt:lpwstr>&lt;formula id="Shell.SharePoint.SIS.IOTV.IOTVExpirationFormula"&gt;&lt;number&gt;1080&lt;/number&gt;&lt;property&gt;Modified&lt;/property&gt;&lt;period&gt;months&lt;/period&gt;&lt;/formula&gt;</vt:lpwstr>
  </property>
  <property fmtid="{D5CDD505-2E9C-101B-9397-08002B2CF9AE}" pid="7" name="_dlc_DocIdItemGuid">
    <vt:lpwstr>30fe05ab-69ec-4235-abf9-70ddb4c13755</vt:lpwstr>
  </property>
  <property fmtid="{D5CDD505-2E9C-101B-9397-08002B2CF9AE}" pid="8" name="Shell SharePoint SAEF SecurityClassification">
    <vt:lpwstr>8;#Restricted|21aa7f98-4035-4019-a764-107acb7269af</vt:lpwstr>
  </property>
  <property fmtid="{D5CDD505-2E9C-101B-9397-08002B2CF9AE}" pid="9" name="Shell SharePoint SAEF DocumentType">
    <vt:lpwstr>16;#Company Communications to Employees [ARM]|a944bb5e-92f7-4ba2-88cd-7c9f0edc584e</vt:lpwstr>
  </property>
  <property fmtid="{D5CDD505-2E9C-101B-9397-08002B2CF9AE}" pid="10" name="Shell SharePoint SAEF LegalEntity">
    <vt:lpwstr>4;#The Shell Petroleum Development Company Of Nigeria Limited|b482a97d-f8dd-41c8-ab1c-99b8408fd22e</vt:lpwstr>
  </property>
  <property fmtid="{D5CDD505-2E9C-101B-9397-08002B2CF9AE}" pid="11" name="Shell SharePoint SAEF BusinessUnitRegion">
    <vt:lpwstr>2;#Sub-Saharan Africa|9d13514c-804d-40ff-8e8a-f6825f62fb70</vt:lpwstr>
  </property>
  <property fmtid="{D5CDD505-2E9C-101B-9397-08002B2CF9AE}" pid="12" name="Shell SharePoint SAEF GlobalFunction">
    <vt:lpwstr>3;#Information Technology|d388b442-0f35-4ef7-bb6d-ea4386749e1a</vt:lpwstr>
  </property>
  <property fmtid="{D5CDD505-2E9C-101B-9397-08002B2CF9AE}" pid="13" name="Shell SharePoint SAEF WorkgroupID">
    <vt:lpwstr>5;#Upstream _ Single File Plan - 22022|d3ed65c1-761d-4a84-a678-924ffd6ed182</vt:lpwstr>
  </property>
  <property fmtid="{D5CDD505-2E9C-101B-9397-08002B2CF9AE}" pid="14" name="Shell SharePoint SAEF CountryOfJurisdiction">
    <vt:lpwstr>7;#NIGERIA|973e3eb3-a5f9-4712-a628-787e048af9f3</vt:lpwstr>
  </property>
  <property fmtid="{D5CDD505-2E9C-101B-9397-08002B2CF9AE}" pid="15" name="Shell SharePoint SAEF ExportControlClassification">
    <vt:lpwstr>9;#Non-US content - Non Controlled|2ac8835e-0587-4096-a6e2-1f68da1e6cb3</vt:lpwstr>
  </property>
  <property fmtid="{D5CDD505-2E9C-101B-9397-08002B2CF9AE}" pid="16" name="Shell SharePoint SAEF DocumentStatus">
    <vt:lpwstr>11;#Draft|1c86f377-7d91-4c95-bd5b-c18c83fe0aa5</vt:lpwstr>
  </property>
  <property fmtid="{D5CDD505-2E9C-101B-9397-08002B2CF9AE}" pid="17" name="Shell SharePoint SAEF Language">
    <vt:lpwstr>6;#English|bd3ad5ee-f0c3-40aa-8cc8-36ef09940af3</vt:lpwstr>
  </property>
  <property fmtid="{D5CDD505-2E9C-101B-9397-08002B2CF9AE}" pid="18" name="Shell SharePoint SAEF Business">
    <vt:lpwstr>1;#Upstream International|dabf15d9-4f75-4ed1-b8a1-a0c3e2a85888</vt:lpwstr>
  </property>
  <property fmtid="{D5CDD505-2E9C-101B-9397-08002B2CF9AE}" pid="19" name="Shell SharePoint SAEF BusinessProcess">
    <vt:lpwstr>10;#All - Records Management|1f68a0f2-47ab-4887-8df5-7c0616d5ad90</vt:lpwstr>
  </property>
</Properties>
</file>